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6"/>
  </p:sldMasterIdLst>
  <p:notesMasterIdLst>
    <p:notesMasterId r:id="rId8"/>
  </p:notesMasterIdLst>
  <p:sldIdLst>
    <p:sldId id="2147374806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A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63" d="100"/>
          <a:sy n="63" d="100"/>
        </p:scale>
        <p:origin x="65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DA4C12-F6B0-41C7-BBD9-18858A93587F}" type="datetimeFigureOut">
              <a:rPr lang="en-US" smtClean="0"/>
              <a:t>8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B9C330-456A-4560-AF5B-5C75F80643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48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CD5AA6-CEF3-4E78-9B31-AEF311B964F0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4/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Kesson Proprietary and Confidenti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EF14C7-72B9-1B46-9114-4453611BBF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019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793619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471675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561476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254210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328557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28810" y="5080578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28972" y="4674177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3203064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131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12989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13151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613741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4" name="Graphic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42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16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3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310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785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10156327" y="846877"/>
            <a:ext cx="167781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55" r="3100"/>
          <a:stretch/>
        </p:blipFill>
        <p:spPr>
          <a:xfrm>
            <a:off x="10156327" y="327876"/>
            <a:ext cx="1677819" cy="279837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3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6" name="Cobranding Placeholder"/>
          <p:cNvSpPr>
            <a:spLocks noGrp="1"/>
          </p:cNvSpPr>
          <p:nvPr>
            <p:ph type="pic" sz="quarter" idx="15" hasCustomPrompt="1"/>
          </p:nvPr>
        </p:nvSpPr>
        <p:spPr>
          <a:xfrm>
            <a:off x="10156825" y="1085850"/>
            <a:ext cx="1674813" cy="665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branding logo. Adjust logo to be proportional to McKesson logo</a:t>
            </a:r>
          </a:p>
        </p:txBody>
      </p:sp>
    </p:spTree>
    <p:extLst>
      <p:ext uri="{BB962C8B-B14F-4D97-AF65-F5344CB8AC3E}">
        <p14:creationId xmlns:p14="http://schemas.microsoft.com/office/powerpoint/2010/main" val="33951436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74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60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891188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4758523-43A6-402F-A3DC-7CE338EE310F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7188" y="5761038"/>
            <a:ext cx="5915025" cy="390525"/>
          </a:xfrm>
          <a:prstGeom prst="rect">
            <a:avLst/>
          </a:prstGeom>
        </p:spPr>
        <p:txBody>
          <a:bodyPr tIns="91440">
            <a:no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Optional footnote content goes here. To place footnotes on additional slides, copy and paste this footnote onto those slides.</a:t>
            </a:r>
          </a:p>
        </p:txBody>
      </p:sp>
    </p:spTree>
    <p:extLst>
      <p:ext uri="{BB962C8B-B14F-4D97-AF65-F5344CB8AC3E}">
        <p14:creationId xmlns:p14="http://schemas.microsoft.com/office/powerpoint/2010/main" val="4535513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439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46348-2307-45AF-A1F8-7EFE8B490865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5463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87507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C401F2-7845-4AD0-90F8-BCAC2A7B5A6C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2224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2224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5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86865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ED436-3BA4-4B71-8401-12966958C666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792224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96175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97C58-47A1-4044-B069-24C083D6A2AB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903" y="1792288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8117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>
          <a:xfrm>
            <a:off x="6327144" y="6344338"/>
            <a:ext cx="4114800" cy="182880"/>
          </a:xfrm>
        </p:spPr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>
          <a:xfrm>
            <a:off x="5669042" y="6344338"/>
            <a:ext cx="627380" cy="182880"/>
          </a:xfrm>
        </p:spPr>
        <p:txBody>
          <a:bodyPr/>
          <a:lstStyle/>
          <a:p>
            <a:fld id="{571B3BDC-5651-480D-840C-DBBA93DFB61B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>
          <a:xfrm>
            <a:off x="5283200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83200" y="1795463"/>
            <a:ext cx="6557963" cy="3966359"/>
          </a:xfrm>
          <a:prstGeom prst="rect">
            <a:avLst/>
          </a:prstGeom>
        </p:spPr>
        <p:txBody>
          <a:bodyPr/>
          <a:lstStyle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3200" y="346074"/>
            <a:ext cx="6558280" cy="10841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235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1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690233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8444" y="6344338"/>
            <a:ext cx="355119" cy="182880"/>
          </a:xfrm>
        </p:spPr>
        <p:txBody>
          <a:bodyPr/>
          <a:lstStyle>
            <a:lvl1pPr algn="r">
              <a:defRPr/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889635" y="6344338"/>
            <a:ext cx="627380" cy="182880"/>
          </a:xfrm>
        </p:spPr>
        <p:txBody>
          <a:bodyPr/>
          <a:lstStyle>
            <a:lvl1pPr algn="r">
              <a:defRPr/>
            </a:lvl1pPr>
          </a:lstStyle>
          <a:p>
            <a:fld id="{9A41F2CB-A298-4AD9-87F9-33882F77447F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514900" y="6344338"/>
            <a:ext cx="2334408" cy="18288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268682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5600" y="1795463"/>
            <a:ext cx="6557963" cy="3966359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346074"/>
            <a:ext cx="6558280" cy="11144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86702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78F1D70-C305-42F7-B515-B32091896891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24" hasCustomPrompt="1"/>
          </p:nvPr>
        </p:nvSpPr>
        <p:spPr>
          <a:xfrm>
            <a:off x="6271157" y="3611880"/>
            <a:ext cx="5559425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ubheader 2"/>
          <p:cNvSpPr>
            <a:spLocks noGrp="1"/>
          </p:cNvSpPr>
          <p:nvPr>
            <p:ph type="body" sz="quarter" idx="23"/>
          </p:nvPr>
        </p:nvSpPr>
        <p:spPr>
          <a:xfrm>
            <a:off x="6271093" y="2907872"/>
            <a:ext cx="5559552" cy="698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092952" y="-1"/>
            <a:ext cx="6099048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3615480"/>
            <a:ext cx="5559552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2907872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1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mage Comparison Slide Title Georgia Bold 22pt. Single Spaced</a:t>
            </a:r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6095992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008969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er Placeholder 17"/>
          <p:cNvSpPr>
            <a:spLocks noGrp="1"/>
          </p:cNvSpPr>
          <p:nvPr>
            <p:ph type="ftr" sz="quarter" idx="21"/>
          </p:nvPr>
        </p:nvSpPr>
        <p:spPr>
          <a:xfrm>
            <a:off x="5339139" y="6344338"/>
            <a:ext cx="4114800" cy="182880"/>
          </a:xfrm>
        </p:spPr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20"/>
          </p:nvPr>
        </p:nvSpPr>
        <p:spPr>
          <a:xfrm>
            <a:off x="4650314" y="6344338"/>
            <a:ext cx="627380" cy="182880"/>
          </a:xfrm>
        </p:spPr>
        <p:txBody>
          <a:bodyPr/>
          <a:lstStyle/>
          <a:p>
            <a:fld id="{21AD4FCA-79B4-48A8-B743-2D75617AE6A6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22"/>
          </p:nvPr>
        </p:nvSpPr>
        <p:spPr>
          <a:xfrm>
            <a:off x="4295195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8248072" y="1795463"/>
            <a:ext cx="3584448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"/>
          <p:cNvSpPr>
            <a:spLocks noGrp="1"/>
          </p:cNvSpPr>
          <p:nvPr>
            <p:ph sz="quarter" idx="13"/>
          </p:nvPr>
        </p:nvSpPr>
        <p:spPr>
          <a:xfrm>
            <a:off x="4300701" y="1795463"/>
            <a:ext cx="3588930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3949864" cy="685800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4319751" y="895350"/>
            <a:ext cx="752141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4319751" y="346075"/>
            <a:ext cx="75217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82047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71CC0-C7EF-4078-AE43-898DC4037C85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 hasCustomPrompt="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401984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23A02-5730-4AEC-8419-BDFDB637A9BF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hree Column with Sub-headers</a:t>
            </a:r>
          </a:p>
        </p:txBody>
      </p:sp>
    </p:spTree>
    <p:extLst>
      <p:ext uri="{BB962C8B-B14F-4D97-AF65-F5344CB8AC3E}">
        <p14:creationId xmlns:p14="http://schemas.microsoft.com/office/powerpoint/2010/main" val="243356596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2296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335036891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9260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20173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333500" y="1790700"/>
            <a:ext cx="9499600" cy="360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48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41737570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5FDAAA-0307-47A8-8D5E-113DC4A65D51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116358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F66CE81-62CC-4268-BDFF-FF0C953DA099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"/>
          <p:cNvSpPr>
            <a:spLocks noGrp="1"/>
          </p:cNvSpPr>
          <p:nvPr>
            <p:ph type="body" sz="quarter" idx="23" hasCustomPrompt="1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4028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427601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452C2-4F97-4EA9-B261-7850D16085DE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316551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316551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275914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75914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235277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235277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307429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06254-0037-43E8-8E49-A1572F6C8E49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Content 4"/>
          <p:cNvSpPr>
            <a:spLocks noGrp="1"/>
          </p:cNvSpPr>
          <p:nvPr>
            <p:ph sz="quarter" idx="28" hasCustomPrompt="1"/>
          </p:nvPr>
        </p:nvSpPr>
        <p:spPr>
          <a:xfrm>
            <a:off x="9234488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1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Subheader 4"/>
          <p:cNvSpPr>
            <a:spLocks noGrp="1"/>
          </p:cNvSpPr>
          <p:nvPr>
            <p:ph type="body" sz="quarter" idx="31"/>
          </p:nvPr>
        </p:nvSpPr>
        <p:spPr>
          <a:xfrm>
            <a:off x="9227770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Content 3"/>
          <p:cNvSpPr>
            <a:spLocks noGrp="1"/>
          </p:cNvSpPr>
          <p:nvPr>
            <p:ph sz="quarter" idx="27" hasCustomPrompt="1"/>
          </p:nvPr>
        </p:nvSpPr>
        <p:spPr>
          <a:xfrm>
            <a:off x="6271989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Subheader 3"/>
          <p:cNvSpPr>
            <a:spLocks noGrp="1"/>
          </p:cNvSpPr>
          <p:nvPr>
            <p:ph type="body" sz="quarter" idx="30"/>
          </p:nvPr>
        </p:nvSpPr>
        <p:spPr>
          <a:xfrm>
            <a:off x="6270697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2"/>
          <p:cNvSpPr>
            <a:spLocks noGrp="1"/>
          </p:cNvSpPr>
          <p:nvPr>
            <p:ph sz="quarter" idx="26" hasCustomPrompt="1"/>
          </p:nvPr>
        </p:nvSpPr>
        <p:spPr>
          <a:xfrm>
            <a:off x="3309490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Subheader 2"/>
          <p:cNvSpPr>
            <a:spLocks noGrp="1"/>
          </p:cNvSpPr>
          <p:nvPr>
            <p:ph type="body" sz="quarter" idx="29"/>
          </p:nvPr>
        </p:nvSpPr>
        <p:spPr>
          <a:xfrm>
            <a:off x="3313625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342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06221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2CE421-DC28-430F-AD76-9084D92CA959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23361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3361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278664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78664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333967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333967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389270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389270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3055303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25"/>
          </p:nvPr>
        </p:nvSpPr>
        <p:spPr>
          <a:xfrm>
            <a:off x="6108066" y="0"/>
            <a:ext cx="305530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6"/>
          </p:nvPr>
        </p:nvSpPr>
        <p:spPr>
          <a:xfrm>
            <a:off x="9165909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3799108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BCAC5-AFD5-46EE-AD77-B0CA1989F855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5"/>
          </p:nvPr>
        </p:nvSpPr>
        <p:spPr>
          <a:xfrm>
            <a:off x="8243889" y="1428750"/>
            <a:ext cx="3586755" cy="43330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hart Placeholder"/>
          <p:cNvSpPr>
            <a:spLocks noGrp="1"/>
          </p:cNvSpPr>
          <p:nvPr>
            <p:ph sz="quarter" idx="13" hasCustomPrompt="1"/>
          </p:nvPr>
        </p:nvSpPr>
        <p:spPr>
          <a:xfrm>
            <a:off x="357189" y="1428750"/>
            <a:ext cx="7529512" cy="4333073"/>
          </a:xfrm>
          <a:prstGeom prst="rect">
            <a:avLst/>
          </a:prstGeom>
        </p:spPr>
        <p:txBody>
          <a:bodyPr anchor="t"/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rt or Graphic and Caption</a:t>
            </a:r>
          </a:p>
        </p:txBody>
      </p:sp>
    </p:spTree>
    <p:extLst>
      <p:ext uri="{BB962C8B-B14F-4D97-AF65-F5344CB8AC3E}">
        <p14:creationId xmlns:p14="http://schemas.microsoft.com/office/powerpoint/2010/main" val="26682658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FF43B-2887-4CAB-818F-D75A41BD4E1D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1428750"/>
            <a:ext cx="11484291" cy="43330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entered Chart Slide</a:t>
            </a:r>
          </a:p>
        </p:txBody>
      </p:sp>
    </p:spTree>
    <p:extLst>
      <p:ext uri="{BB962C8B-B14F-4D97-AF65-F5344CB8AC3E}">
        <p14:creationId xmlns:p14="http://schemas.microsoft.com/office/powerpoint/2010/main" val="259520421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13144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10225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5951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270291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p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451380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spita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127602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932893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327468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55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9AC2432-A243-4C17-845E-128E4AA5DDFB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FAD01E-D414-4AC9-ACE4-A2695C3D1678}" type="datetime1">
              <a:rPr lang="en-US" smtClean="0"/>
              <a:t>8/7/2023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 userDrawn="1"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57351" y="1825625"/>
            <a:ext cx="11484129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936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4">
          <p15:clr>
            <a:srgbClr val="A4A3A4"/>
          </p15:clr>
        </p15:guide>
        <p15:guide id="2" pos="7464">
          <p15:clr>
            <a:srgbClr val="A4A3A4"/>
          </p15:clr>
        </p15:guide>
        <p15:guide id="3" pos="216">
          <p15:clr>
            <a:srgbClr val="A4A3A4"/>
          </p15:clr>
        </p15:guide>
        <p15:guide id="5" orient="horz" pos="21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7.wmf"/><Relationship Id="rId4" Type="http://schemas.openxmlformats.org/officeDocument/2006/relationships/notesSlide" Target="../notesSlides/notesSlide1.xml"/><Relationship Id="rId9" Type="http://schemas.openxmlformats.org/officeDocument/2006/relationships/package" Target="../embeddings/Microsoft_Excel_Worksheet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18216FB-5287-487A-8B3F-1AF9FDD663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18216FB-5287-487A-8B3F-1AF9FDD66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CFD7885-8FC8-47C9-8935-49184F4F8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Insight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9D2BB8-547F-4C3B-8382-E5E7CBF89D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087" y="929640"/>
            <a:ext cx="988577" cy="411024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C7C9AE-F285-4175-8679-C25DE1948F12}"/>
              </a:ext>
            </a:extLst>
          </p:cNvPr>
          <p:cNvSpPr txBox="1"/>
          <p:nvPr/>
        </p:nvSpPr>
        <p:spPr>
          <a:xfrm>
            <a:off x="1198880" y="984225"/>
            <a:ext cx="1097280" cy="228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Favorable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ales reps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5128A3-FA2A-4BE8-9695-9E1A2621197C}"/>
              </a:ext>
            </a:extLst>
          </p:cNvPr>
          <p:cNvSpPr txBox="1"/>
          <p:nvPr/>
        </p:nvSpPr>
        <p:spPr>
          <a:xfrm>
            <a:off x="2329417" y="984225"/>
            <a:ext cx="1097280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vorable sales rep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929253-8766-44E2-BCDA-2829D2D7E17E}"/>
              </a:ext>
            </a:extLst>
          </p:cNvPr>
          <p:cNvSpPr txBox="1"/>
          <p:nvPr/>
        </p:nvSpPr>
        <p:spPr>
          <a:xfrm>
            <a:off x="3453444" y="984225"/>
            <a:ext cx="1097280" cy="228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Favorabl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A#</a:t>
            </a:r>
          </a:p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93B998-398C-4C53-814C-0DCC49C9001D}"/>
              </a:ext>
            </a:extLst>
          </p:cNvPr>
          <p:cNvSpPr txBox="1"/>
          <p:nvPr/>
        </p:nvSpPr>
        <p:spPr>
          <a:xfrm>
            <a:off x="4581192" y="984225"/>
            <a:ext cx="1097280" cy="228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vorable DEA#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38CBE2-7E21-45E5-8C00-1A10B1C41822}"/>
              </a:ext>
            </a:extLst>
          </p:cNvPr>
          <p:cNvSpPr txBox="1"/>
          <p:nvPr/>
        </p:nvSpPr>
        <p:spPr>
          <a:xfrm>
            <a:off x="5712026" y="984225"/>
            <a:ext cx="1097280" cy="228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Favorabl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ccounts</a:t>
            </a:r>
          </a:p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96AB48-F502-4888-AD4D-A57E1BD1F685}"/>
              </a:ext>
            </a:extLst>
          </p:cNvPr>
          <p:cNvSpPr txBox="1"/>
          <p:nvPr/>
        </p:nvSpPr>
        <p:spPr>
          <a:xfrm>
            <a:off x="6831763" y="984225"/>
            <a:ext cx="1097280" cy="228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vorable Accounts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D495288-9C48-4E07-B9EF-0FBE5BF0397D}"/>
              </a:ext>
            </a:extLst>
          </p:cNvPr>
          <p:cNvSpPr txBox="1"/>
          <p:nvPr/>
        </p:nvSpPr>
        <p:spPr>
          <a:xfrm>
            <a:off x="1198880" y="3301177"/>
            <a:ext cx="6730163" cy="16619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tSale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by Customer Type</a:t>
            </a:r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Type  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tsale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% Total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tsales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D7D83D8-C714-405F-959C-23FA10FA13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9466" y="3868437"/>
            <a:ext cx="3596464" cy="80447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0CE08D3-D817-4D47-A7A4-7B18B0E9CA81}"/>
              </a:ext>
            </a:extLst>
          </p:cNvPr>
          <p:cNvSpPr txBox="1"/>
          <p:nvPr/>
        </p:nvSpPr>
        <p:spPr>
          <a:xfrm>
            <a:off x="8217645" y="1167773"/>
            <a:ext cx="3477458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portion colored in pink is new enhancement.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de for Unfavorable Sales rep and Favorable Sales rep is already there but needs to be displayed and reformatted.</a:t>
            </a:r>
          </a:p>
          <a:p>
            <a:pPr marL="285750" indent="-285750">
              <a:buFontTx/>
              <a:buChar char="-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Sal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customer type: CUSTOMERTYPECODE in table V_PE_CUSTOMER_ACCOUNT_INFO indicates customer type. Attached table has the description for the code </a:t>
            </a:r>
          </a:p>
        </p:txBody>
      </p:sp>
      <p:graphicFrame>
        <p:nvGraphicFramePr>
          <p:cNvPr id="24" name="Object 23">
            <a:extLst>
              <a:ext uri="{FF2B5EF4-FFF2-40B4-BE49-F238E27FC236}">
                <a16:creationId xmlns:a16="http://schemas.microsoft.com/office/drawing/2014/main" id="{F4C7492B-01D1-445F-A9E8-C2F565A95A8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5494270"/>
              </p:ext>
            </p:extLst>
          </p:nvPr>
        </p:nvGraphicFramePr>
        <p:xfrm>
          <a:off x="8796669" y="4131453"/>
          <a:ext cx="2463209" cy="2172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Worksheet" showAsIcon="1" r:id="rId9" imgW="914400" imgH="806400" progId="Excel.Sheet.12">
                  <p:embed/>
                </p:oleObj>
              </mc:Choice>
              <mc:Fallback>
                <p:oleObj name="Worksheet" showAsIcon="1" r:id="rId9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796669" y="4131453"/>
                        <a:ext cx="2463209" cy="21724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3521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31Rrg7ZtGVWac5._30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-Std-2.1.potx" id="{704B55A8-189D-4AC3-9107-465DDDF1BB6F}" vid="{8239325E-6574-4EE7-8518-173305244B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
</file>

<file path=customXml/item2.xml>
</file>

<file path=customXml/item3.xml>
</file>

<file path=customXml/item4.xml>
</file>

<file path=customXml/item5.xml>
</file>

<file path=customXml/itemProps1.xml><?xml version="1.0" encoding="utf-8"?>
<ds:datastoreItem xmlns:ds="http://schemas.openxmlformats.org/officeDocument/2006/customXml" ds:itemID="{50D685BF-FE77-4B78-A33E-3B89CAA35E8A}"/>
</file>

<file path=customXml/itemProps2.xml><?xml version="1.0" encoding="utf-8"?>
<ds:datastoreItem xmlns:ds="http://schemas.openxmlformats.org/officeDocument/2006/customXml" ds:itemID="{0F8BA82D-9A58-4D35-9911-9A9285233A7E}"/>
</file>

<file path=customXml/itemProps3.xml><?xml version="1.0" encoding="utf-8"?>
<ds:datastoreItem xmlns:ds="http://schemas.openxmlformats.org/officeDocument/2006/customXml" ds:itemID="{CD07C761-C53D-46BA-8F69-ACBE2EF7B436}"/>
</file>

<file path=customXml/itemProps4.xml><?xml version="1.0" encoding="utf-8"?>
<ds:datastoreItem xmlns:ds="http://schemas.openxmlformats.org/officeDocument/2006/customXml" ds:itemID="{F744FF8A-38CA-48F2-ABEB-DB0FCA1235BD}"/>
</file>

<file path=customXml/itemProps5.xml><?xml version="1.0" encoding="utf-8"?>
<ds:datastoreItem xmlns:ds="http://schemas.openxmlformats.org/officeDocument/2006/customXml" ds:itemID="{087F942A-A060-4D49-B9ED-8D47EBA18EFD}"/>
</file>

<file path=docProps/app.xml><?xml version="1.0" encoding="utf-8"?>
<Properties xmlns="http://schemas.openxmlformats.org/officeDocument/2006/extended-properties" xmlns:vt="http://schemas.openxmlformats.org/officeDocument/2006/docPropsVTypes">
  <TotalTime>43206</TotalTime>
  <Words>92</Words>
  <Application>Microsoft Office PowerPoint</Application>
  <PresentationFormat>Widescreen</PresentationFormat>
  <Paragraphs>5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2_McKesson</vt:lpstr>
      <vt:lpstr>think-cell Slide</vt:lpstr>
      <vt:lpstr>Microsoft Excel Worksheet</vt:lpstr>
      <vt:lpstr>Performance Insigh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&amp;P Savings Forecast / SUM FY23 Distribution &amp; Logistics</dc:title>
  <dc:creator>Owenby, Susan</dc:creator>
  <cp:lastModifiedBy>KHATRI, SHALINI</cp:lastModifiedBy>
  <cp:revision>166</cp:revision>
  <dcterms:created xsi:type="dcterms:W3CDTF">2021-10-25T17:55:39Z</dcterms:created>
  <dcterms:modified xsi:type="dcterms:W3CDTF">2023-08-14T15:55:34Z</dcterms:modified>
</cp:coreProperties>
</file>